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76" d="100"/>
          <a:sy n="76" d="100"/>
        </p:scale>
        <p:origin x="81" y="6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3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?hl=e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	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L4</a:t>
            </a:r>
            <a:r>
              <a:rPr lang="en" sz="24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 </a:t>
            </a:r>
            <a:r>
              <a:rPr lang="en" dirty="0">
                <a:solidFill>
                  <a:srgbClr val="212121"/>
                </a:solidFill>
              </a:rPr>
              <a:t>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H100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	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Caching for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</a:t>
            </a:r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>
                <a:hlinkClick r:id="rId3"/>
              </a:rPr>
              <a:t>https://colab.research.google.com/github/DJCordhose/practical-llm/blob/main/Assessment.ipynb?hl=en</a:t>
            </a:r>
            <a:r>
              <a:rPr lang="de-DE" sz="2400" dirty="0"/>
              <a:t>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7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AEA5515-6AE8-AB3A-7A68-8E293B0D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4941" y="2232932"/>
            <a:ext cx="2003854" cy="200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62</Words>
  <Application>Microsoft Office PowerPoint</Application>
  <PresentationFormat>Breitbild</PresentationFormat>
  <Paragraphs>644</Paragraphs>
  <Slides>55</Slides>
  <Notes>46</Notes>
  <HiddenSlides>6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-Prä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15</cp:revision>
  <dcterms:created xsi:type="dcterms:W3CDTF">2019-10-15T07:31:09Z</dcterms:created>
  <dcterms:modified xsi:type="dcterms:W3CDTF">2024-09-03T08:51:26Z</dcterms:modified>
</cp:coreProperties>
</file>